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1"/>
  </p:notesMasterIdLst>
  <p:sldIdLst>
    <p:sldId id="256" r:id="rId2"/>
    <p:sldId id="257" r:id="rId3"/>
    <p:sldId id="258" r:id="rId4"/>
    <p:sldId id="259" r:id="rId5"/>
    <p:sldId id="260" r:id="rId6"/>
    <p:sldId id="263" r:id="rId7"/>
    <p:sldId id="264" r:id="rId8"/>
    <p:sldId id="265" r:id="rId9"/>
    <p:sldId id="266" r:id="rId1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1"/>
    <p:restoredTop sz="96327"/>
  </p:normalViewPr>
  <p:slideViewPr>
    <p:cSldViewPr snapToGrid="0">
      <p:cViewPr varScale="1">
        <p:scale>
          <a:sx n="124" d="100"/>
          <a:sy n="124" d="100"/>
        </p:scale>
        <p:origin x="544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EDA719-2CF8-F544-8B63-DE2F617425F1}" type="datetimeFigureOut">
              <a:rPr lang="en-US" smtClean="0"/>
              <a:t>2/22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354342-78CD-AB4A-BF7E-C92484D3E7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950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131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8885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0888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4238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7244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33186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76978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ing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07E70-A5AC-A025-8F94-289A5D47E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399" y="868873"/>
            <a:ext cx="10871199" cy="877865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36B878-60B5-3D49-B60F-68E271A70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D764A5-B53F-A5AE-37BA-32E6BEB2C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DB1C0-FE50-FF44-A954-8744EAA6C2C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358F4CB-FD93-2FDD-9386-5923F9A6D1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431800"/>
            <a:ext cx="6989233" cy="348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67" b="0" cap="all" spc="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19032D60-BCE5-02F8-593E-10FCE11620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397" y="6074815"/>
            <a:ext cx="10871200" cy="248285"/>
          </a:xfrm>
        </p:spPr>
        <p:txBody>
          <a:bodyPr anchor="ctr">
            <a:normAutofit/>
          </a:bodyPr>
          <a:lstStyle>
            <a:lvl1pPr marL="0" indent="0">
              <a:buNone/>
              <a:defRPr sz="1067" i="1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ource: 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3463F800-DD38-D0C2-2545-1191E66AA8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0008" y="6323100"/>
            <a:ext cx="18129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AEF95BA-189A-CF4C-AAAA-32BA35CC0BFF}" type="datetimeFigureOut">
              <a:rPr lang="en-US" smtClean="0"/>
              <a:t>2/22/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6507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217869F6-EB48-FEF5-BF39-E3516A4C68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431800"/>
            <a:ext cx="6989233" cy="348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67" b="0" cap="all" spc="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585A0013-757B-F0D6-F57C-198529724BF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Slide Number Placeholder 15">
            <a:extLst>
              <a:ext uri="{FF2B5EF4-FFF2-40B4-BE49-F238E27FC236}">
                <a16:creationId xmlns:a16="http://schemas.microsoft.com/office/drawing/2014/main" id="{A179C655-8516-FFF3-5246-79641296B6B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521DB1C0-FE50-FF44-A954-8744EAA6C2CE}" type="slidenum">
              <a:rPr lang="en-US" smtClean="0"/>
              <a:t>‹#›</a:t>
            </a:fld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1DE94D71-76B3-7C58-A480-C30506AEA51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0008" y="6323100"/>
            <a:ext cx="18129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AEF95BA-189A-CF4C-AAAA-32BA35CC0BFF}" type="datetimeFigureOut">
              <a:rPr lang="en-US" smtClean="0"/>
              <a:t>2/22/23</a:t>
            </a:fld>
            <a:endParaRPr lang="en-US"/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A8EE4238-05A2-4F02-9920-508E85193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399" y="868873"/>
            <a:ext cx="10871199" cy="877865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C66CEB-F582-71A9-EB8D-AAB6467F33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0400" y="6165103"/>
            <a:ext cx="10871200" cy="248285"/>
          </a:xfrm>
        </p:spPr>
        <p:txBody>
          <a:bodyPr anchor="ctr">
            <a:normAutofit/>
          </a:bodyPr>
          <a:lstStyle>
            <a:lvl1pPr marL="0" indent="0">
              <a:buNone/>
              <a:defRPr sz="1067" i="1"/>
            </a:lvl1pPr>
          </a:lstStyle>
          <a:p>
            <a:pPr lvl="0"/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3377176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165FC7A6-F5CF-203A-5A74-84CB0EC62A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" name="Footer Placeholder 14">
            <a:extLst>
              <a:ext uri="{FF2B5EF4-FFF2-40B4-BE49-F238E27FC236}">
                <a16:creationId xmlns:a16="http://schemas.microsoft.com/office/drawing/2014/main" id="{D4C4E700-6855-02DA-ADB3-62289B30B89A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660400" y="6323100"/>
            <a:ext cx="3231661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Slide Number Placeholder 15">
            <a:extLst>
              <a:ext uri="{FF2B5EF4-FFF2-40B4-BE49-F238E27FC236}">
                <a16:creationId xmlns:a16="http://schemas.microsoft.com/office/drawing/2014/main" id="{33C2FBB4-5285-2290-1861-DF147B4D97C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640751" y="6323100"/>
            <a:ext cx="89084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21DB1C0-FE50-FF44-A954-8744EAA6C2CE}" type="slidenum">
              <a:rPr lang="en-US" smtClean="0"/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F6D108-A7E5-ED77-29BB-BA43AD671F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0008" y="6323100"/>
            <a:ext cx="18129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2AEF95BA-189A-CF4C-AAAA-32BA35CC0BFF}" type="datetimeFigureOut">
              <a:rPr lang="en-US" smtClean="0"/>
              <a:t>2/22/23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1A4B0B1-74B3-8425-6A43-9AD5920B8CD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0400" y="2905124"/>
            <a:ext cx="10871197" cy="1047749"/>
          </a:xfrm>
        </p:spPr>
        <p:txBody>
          <a:bodyPr anchor="ctr">
            <a:normAutofit/>
          </a:bodyPr>
          <a:lstStyle>
            <a:lvl1pPr marL="0" indent="0">
              <a:buNone/>
              <a:defRPr sz="5333">
                <a:solidFill>
                  <a:schemeClr val="bg1"/>
                </a:solidFill>
                <a:latin typeface="Georgia" panose="02040502050405020303" pitchFamily="18" charset="0"/>
                <a:cs typeface="Geeza Pro" panose="02000400000000000000" pitchFamily="2" charset="-78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2085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ckground pattern&#10;&#10;Description automatically generated">
            <a:extLst>
              <a:ext uri="{FF2B5EF4-FFF2-40B4-BE49-F238E27FC236}">
                <a16:creationId xmlns:a16="http://schemas.microsoft.com/office/drawing/2014/main" id="{1EB7CA84-AEC3-CA16-5B9F-2BC6295787E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1997" cy="6858000"/>
          </a:xfrm>
          <a:prstGeom prst="rect">
            <a:avLst/>
          </a:prstGeom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780AEB0A-647B-9A88-3247-CD9E960A0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399" y="2757477"/>
            <a:ext cx="10871199" cy="1473864"/>
          </a:xfrm>
        </p:spPr>
        <p:txBody>
          <a:bodyPr>
            <a:noAutofit/>
          </a:bodyPr>
          <a:lstStyle>
            <a:lvl1pPr algn="l">
              <a:defRPr sz="5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70677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6FE09E-92C9-7571-8AA2-90615EFEE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0242" y="3208817"/>
            <a:ext cx="10871199" cy="671523"/>
          </a:xfrm>
        </p:spPr>
        <p:txBody>
          <a:bodyPr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0F13C849-1EC8-DBE0-5884-76CF2B42EC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850880" cy="640080"/>
          </a:xfrm>
          <a:prstGeom prst="rect">
            <a:avLst/>
          </a:prstGeo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2400" b="1" cap="all" spc="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Calibri" panose="020F0502020204030204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691648B-3A0B-191F-305F-ED3452DA6D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BADCEA8-9CC7-CB3F-0BE9-488C61C437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DB1C0-FE50-FF44-A954-8744EAA6C2C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A0EBB8F-65FA-C262-A973-57A9EA97E7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0008" y="6323100"/>
            <a:ext cx="18129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AEF95BA-189A-CF4C-AAAA-32BA35CC0BFF}" type="datetimeFigureOut">
              <a:rPr lang="en-US" smtClean="0"/>
              <a:t>2/22/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8217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ng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07E70-A5AC-A025-8F94-289A5D47E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399" y="868873"/>
            <a:ext cx="10871199" cy="877865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36B878-60B5-3D49-B60F-68E271A70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D764A5-B53F-A5AE-37BA-32E6BEB2C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DB1C0-FE50-FF44-A954-8744EAA6C2C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358F4CB-FD93-2FDD-9386-5923F9A6D1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431800"/>
            <a:ext cx="6989233" cy="348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67" b="0" cap="all" spc="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9D23A25-1639-CEEC-E4CD-A57D4D077F36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60402" y="2497015"/>
            <a:ext cx="10871196" cy="349211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19032D60-BCE5-02F8-593E-10FCE11620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397" y="6074815"/>
            <a:ext cx="10871200" cy="248285"/>
          </a:xfrm>
        </p:spPr>
        <p:txBody>
          <a:bodyPr anchor="ctr">
            <a:normAutofit/>
          </a:bodyPr>
          <a:lstStyle>
            <a:lvl1pPr marL="0" indent="0">
              <a:buNone/>
              <a:defRPr sz="1067" i="1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ource: 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3463F800-DD38-D0C2-2545-1191E66AA8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0008" y="6323100"/>
            <a:ext cx="18129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AEF95BA-189A-CF4C-AAAA-32BA35CC0BFF}" type="datetimeFigureOut">
              <a:rPr lang="en-US" smtClean="0"/>
              <a:t>2/22/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60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ing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407E70-A5AC-A025-8F94-289A5D47EB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399" y="868873"/>
            <a:ext cx="10871199" cy="877865"/>
          </a:xfrm>
        </p:spPr>
        <p:txBody>
          <a:bodyPr anchor="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36B878-60B5-3D49-B60F-68E271A70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D764A5-B53F-A5AE-37BA-32E6BEB2C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DB1C0-FE50-FF44-A954-8744EAA6C2CE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1358F4CB-FD93-2FDD-9386-5923F9A6D1C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431800"/>
            <a:ext cx="6989233" cy="34881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867" b="0" cap="all" spc="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Eyebrow identification, CALIBRI, 14PT REGULAR</a:t>
            </a:r>
          </a:p>
        </p:txBody>
      </p:sp>
      <p:sp>
        <p:nvSpPr>
          <p:cNvPr id="8" name="Chart Placeholder 7">
            <a:extLst>
              <a:ext uri="{FF2B5EF4-FFF2-40B4-BE49-F238E27FC236}">
                <a16:creationId xmlns:a16="http://schemas.microsoft.com/office/drawing/2014/main" id="{A9D23A25-1639-CEEC-E4CD-A57D4D077F36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60402" y="2497015"/>
            <a:ext cx="5292164" cy="349211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19032D60-BCE5-02F8-593E-10FCE116202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60397" y="6074815"/>
            <a:ext cx="10871200" cy="248285"/>
          </a:xfrm>
        </p:spPr>
        <p:txBody>
          <a:bodyPr anchor="ctr">
            <a:normAutofit/>
          </a:bodyPr>
          <a:lstStyle>
            <a:lvl1pPr marL="0" indent="0">
              <a:buNone/>
              <a:defRPr sz="1067" i="1"/>
            </a:lvl1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ource: 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3463F800-DD38-D0C2-2545-1191E66AA8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320008" y="6323100"/>
            <a:ext cx="18129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AEF95BA-189A-CF4C-AAAA-32BA35CC0BFF}" type="datetimeFigureOut">
              <a:rPr lang="en-US" smtClean="0"/>
              <a:t>2/22/23</a:t>
            </a:fld>
            <a:endParaRPr lang="en-US"/>
          </a:p>
        </p:txBody>
      </p:sp>
      <p:sp>
        <p:nvSpPr>
          <p:cNvPr id="21" name="Chart Placeholder 7">
            <a:extLst>
              <a:ext uri="{FF2B5EF4-FFF2-40B4-BE49-F238E27FC236}">
                <a16:creationId xmlns:a16="http://schemas.microsoft.com/office/drawing/2014/main" id="{7035B808-2377-011B-9F25-B7983CC53472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239434" y="2497015"/>
            <a:ext cx="5292164" cy="3492111"/>
          </a:xfrm>
        </p:spPr>
        <p:txBody>
          <a:bodyPr/>
          <a:lstStyle/>
          <a:p>
            <a:r>
              <a:rPr lang="en-US"/>
              <a:t>Click icon to add chart</a:t>
            </a:r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2DA21F66-297A-D982-FD03-9CD5D4D7AA90}"/>
              </a:ext>
            </a:extLst>
          </p:cNvPr>
          <p:cNvCxnSpPr/>
          <p:nvPr/>
        </p:nvCxnSpPr>
        <p:spPr>
          <a:xfrm>
            <a:off x="6095997" y="2497015"/>
            <a:ext cx="0" cy="349211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5410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25744D-D5E0-4951-E781-DD3E7ACCC72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8669DEE-52EF-D1FB-857D-E49CDCA5E5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216D1E7-3079-70EE-A7DF-4DDC7BEEFE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EF95BA-189A-CF4C-AAAA-32BA35CC0BFF}" type="datetimeFigureOut">
              <a:rPr lang="en-US" smtClean="0"/>
              <a:t>2/22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37F43B-9EC6-18E3-F8DB-3D19738BA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4C1C04-4698-31E1-37CD-FCF0AF2255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1DB1C0-FE50-FF44-A954-8744EAA6C2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7903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F15E4F2-B8AB-44DF-8511-1FE9002AE2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53F497-24DC-4F22-B9C3-5D8F5F8E1CFE}" type="datetime5">
              <a:rPr lang="en-US" sz="1333" smtClean="0"/>
              <a:t>22-Feb-23</a:t>
            </a:fld>
            <a:endParaRPr lang="en-IN" sz="1333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07A804-7102-43A0-A621-A6BAC594E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rom Hydration to Hygiene  |  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7662C6-BA49-4489-8818-BC7F96E8B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627645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320008" y="6323100"/>
            <a:ext cx="18129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2AEF95BA-189A-CF4C-AAAA-32BA35CC0BFF}" type="datetimeFigureOut">
              <a:rPr lang="en-US" smtClean="0"/>
              <a:t>2/22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0400" y="6323100"/>
            <a:ext cx="3231661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640751" y="6323100"/>
            <a:ext cx="8908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521DB1C0-FE50-FF44-A954-8744EAA6C2CE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itle Placeholder 8">
            <a:extLst>
              <a:ext uri="{FF2B5EF4-FFF2-40B4-BE49-F238E27FC236}">
                <a16:creationId xmlns:a16="http://schemas.microsoft.com/office/drawing/2014/main" id="{F20BA715-600D-737B-00D1-BE81F1500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399" y="868873"/>
            <a:ext cx="10871199" cy="671523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77D72F4-0060-EAA0-31CA-F3278D83E9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60400" y="1826684"/>
            <a:ext cx="10871200" cy="437482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B47CF58-DFBD-4CA1-6C7A-A525FCDAD673}"/>
              </a:ext>
            </a:extLst>
          </p:cNvPr>
          <p:cNvSpPr txBox="1"/>
          <p:nvPr/>
        </p:nvSpPr>
        <p:spPr>
          <a:xfrm>
            <a:off x="2717800" y="6362034"/>
            <a:ext cx="5650523" cy="256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/>
            <a:r>
              <a:rPr lang="en-US" sz="1067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510677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Open Sans" panose="020B0606030504020204" pitchFamily="34" charset="0"/>
          <a:cs typeface="Calibri" panose="020F050202020403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Open Sans" panose="020B0606030504020204" pitchFamily="34" charset="0"/>
          <a:cs typeface="Calibri" panose="020F050202020403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Open Sans" panose="020B0606030504020204" pitchFamily="34" charset="0"/>
          <a:cs typeface="Calibri" panose="020F050202020403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Open Sans" panose="020B0606030504020204" pitchFamily="34" charset="0"/>
          <a:cs typeface="Calibri" panose="020F050202020403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65000"/>
              <a:lumOff val="35000"/>
            </a:schemeClr>
          </a:solidFill>
          <a:latin typeface="Calibri" panose="020F0502020204030204" pitchFamily="34" charset="0"/>
          <a:ea typeface="Open Sans" panose="020B0606030504020204" pitchFamily="34" charset="0"/>
          <a:cs typeface="Calibri" panose="020F050202020403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4">
          <p15:clr>
            <a:srgbClr val="F26B43"/>
          </p15:clr>
        </p15:guide>
        <p15:guide id="2" pos="5448">
          <p15:clr>
            <a:srgbClr val="F26B43"/>
          </p15:clr>
        </p15:guide>
        <p15:guide id="3" pos="312">
          <p15:clr>
            <a:srgbClr val="F26B43"/>
          </p15:clr>
        </p15:guide>
        <p15:guide id="4" orient="horz" pos="303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6" Type="http://schemas.openxmlformats.org/officeDocument/2006/relationships/image" Target="../media/image5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6" Type="http://schemas.openxmlformats.org/officeDocument/2006/relationships/image" Target="../media/image6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6" Type="http://schemas.openxmlformats.org/officeDocument/2006/relationships/image" Target="../media/image7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6" Type="http://schemas.openxmlformats.org/officeDocument/2006/relationships/image" Target="../media/image8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6" Type="http://schemas.openxmlformats.org/officeDocument/2006/relationships/image" Target="../media/image9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6" Type="http://schemas.openxmlformats.org/officeDocument/2006/relationships/image" Target="../media/image10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4">
            <a:extLst>
              <a:ext uri="{FF2B5EF4-FFF2-40B4-BE49-F238E27FC236}">
                <a16:creationId xmlns:a16="http://schemas.microsoft.com/office/drawing/2014/main" id="{586B371C-92E4-2372-892B-38A0B53F281D}"/>
              </a:ext>
            </a:extLst>
          </p:cNvPr>
          <p:cNvSpPr txBox="1">
            <a:spLocks/>
          </p:cNvSpPr>
          <p:nvPr/>
        </p:nvSpPr>
        <p:spPr>
          <a:xfrm>
            <a:off x="670560" y="3106739"/>
            <a:ext cx="10850880" cy="164592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333" kern="1200">
                <a:solidFill>
                  <a:schemeClr val="bg1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n-US" sz="4800"/>
              <a:t>From Hydration to Hygiene: </a:t>
            </a:r>
            <a:br>
              <a:rPr lang="en-US" sz="4800"/>
            </a:br>
            <a:r>
              <a:rPr lang="en-US" sz="4800"/>
              <a:t>Goodbye Pedialyte, Hello Listerine.</a:t>
            </a:r>
            <a:endParaRPr lang="en-US" sz="4800" dirty="0"/>
          </a:p>
        </p:txBody>
      </p:sp>
      <p:sp>
        <p:nvSpPr>
          <p:cNvPr id="14" name="Subtitle 5">
            <a:extLst>
              <a:ext uri="{FF2B5EF4-FFF2-40B4-BE49-F238E27FC236}">
                <a16:creationId xmlns:a16="http://schemas.microsoft.com/office/drawing/2014/main" id="{1AD650FA-0FC0-EFBE-28DE-433A5A4EF298}"/>
              </a:ext>
            </a:extLst>
          </p:cNvPr>
          <p:cNvSpPr txBox="1">
            <a:spLocks/>
          </p:cNvSpPr>
          <p:nvPr/>
        </p:nvSpPr>
        <p:spPr>
          <a:xfrm>
            <a:off x="670559" y="2333308"/>
            <a:ext cx="10850879" cy="640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indent="0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400" b="1" cap="all" spc="200" baseline="0">
                <a:cs typeface="Calibri" panose="020F0502020204030204" pitchFamily="34" charset="0"/>
              </a:defRPr>
            </a:lvl1pPr>
            <a:lvl2pPr marL="609585" indent="0" algn="ctr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67" b="0">
                <a:solidFill>
                  <a:schemeClr val="tx1">
                    <a:tint val="75000"/>
                  </a:schemeClr>
                </a:solidFill>
                <a:latin typeface="+mj-lt"/>
              </a:defRPr>
            </a:lvl2pPr>
            <a:lvl3pPr marL="1219170" indent="0" algn="ctr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b="0">
                <a:solidFill>
                  <a:schemeClr val="tx1">
                    <a:tint val="75000"/>
                  </a:schemeClr>
                </a:solidFill>
                <a:latin typeface="+mj-lt"/>
              </a:defRPr>
            </a:lvl3pPr>
            <a:lvl4pPr marL="1828754" indent="0" algn="ctr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67" b="0">
                <a:solidFill>
                  <a:schemeClr val="tx1">
                    <a:tint val="75000"/>
                  </a:schemeClr>
                </a:solidFill>
                <a:latin typeface="+mj-lt"/>
              </a:defRPr>
            </a:lvl4pPr>
            <a:lvl5pPr marL="2438339" indent="0" algn="ctr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67" b="0">
                <a:solidFill>
                  <a:schemeClr val="tx1">
                    <a:tint val="75000"/>
                  </a:schemeClr>
                </a:solidFill>
                <a:latin typeface="+mj-lt"/>
              </a:defRPr>
            </a:lvl5pPr>
            <a:lvl6pPr marL="3047924" indent="0" algn="ctr" defTabSz="1219170">
              <a:spcBef>
                <a:spcPct val="20000"/>
              </a:spcBef>
              <a:buFont typeface="Arial" panose="020B0604020202020204" pitchFamily="34" charset="0"/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 defTabSz="1219170">
              <a:spcBef>
                <a:spcPct val="20000"/>
              </a:spcBef>
              <a:buFont typeface="Arial" panose="020B0604020202020204" pitchFamily="34" charset="0"/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 defTabSz="1219170">
              <a:spcBef>
                <a:spcPct val="20000"/>
              </a:spcBef>
              <a:buFont typeface="Arial" panose="020B0604020202020204" pitchFamily="34" charset="0"/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 defTabSz="1219170">
              <a:spcBef>
                <a:spcPct val="20000"/>
              </a:spcBef>
              <a:buFont typeface="Arial" panose="020B0604020202020204" pitchFamily="34" charset="0"/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Izzy o’brien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EB93B94-9CCF-90B7-AD06-9CC5C678F2A3}"/>
              </a:ext>
            </a:extLst>
          </p:cNvPr>
          <p:cNvSpPr txBox="1">
            <a:spLocks/>
          </p:cNvSpPr>
          <p:nvPr/>
        </p:nvSpPr>
        <p:spPr>
          <a:xfrm>
            <a:off x="670560" y="4935539"/>
            <a:ext cx="6461760" cy="640080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>
            <a:lvl1pPr indent="0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67" b="0" i="0">
                <a:latin typeface="+mj-lt"/>
                <a:cs typeface="Calibri" panose="020F0502020204030204" pitchFamily="34" charset="0"/>
              </a:defRPr>
            </a:lvl1pPr>
            <a:lvl2pPr marL="226478" indent="-226478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67" b="0">
                <a:latin typeface="+mj-lt"/>
              </a:defRPr>
            </a:lvl2pPr>
            <a:lvl3pPr marL="533387" indent="-228594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b="0">
                <a:latin typeface="+mj-lt"/>
              </a:defRPr>
            </a:lvl3pPr>
            <a:lvl4pPr marL="761981" indent="-226478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 b="0">
                <a:latin typeface="+mj-lt"/>
              </a:defRPr>
            </a:lvl4pPr>
            <a:lvl5pPr marL="990575" indent="-228594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467" b="0">
                <a:latin typeface="+mj-lt"/>
              </a:defRPr>
            </a:lvl5pPr>
            <a:lvl6pPr marL="3352716" indent="-304792" defTabSz="1219170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 defTabSz="1219170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 defTabSz="1219170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 defTabSz="1219170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r>
              <a:rPr lang="en-US" dirty="0">
                <a:solidFill>
                  <a:schemeClr val="bg1"/>
                </a:solidFill>
                <a:latin typeface="Georgia" panose="02040502050405020303" pitchFamily="18" charset="0"/>
              </a:rPr>
              <a:t>16  | February  |  2023</a:t>
            </a: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61093CEC-CDA0-7819-8EAE-829400353817}"/>
              </a:ext>
            </a:extLst>
          </p:cNvPr>
          <p:cNvSpPr txBox="1">
            <a:spLocks/>
          </p:cNvSpPr>
          <p:nvPr/>
        </p:nvSpPr>
        <p:spPr>
          <a:xfrm>
            <a:off x="7554879" y="272249"/>
            <a:ext cx="4123267" cy="429684"/>
          </a:xfrm>
          <a:prstGeom prst="rect">
            <a:avLst/>
          </a:prstGeom>
        </p:spPr>
        <p:txBody>
          <a:bodyPr vert="horz" lIns="0" tIns="0" rIns="91440" bIns="45720" rtlCol="0" anchor="ctr">
            <a:noAutofit/>
          </a:bodyPr>
          <a:lstStyle>
            <a:lvl1pPr indent="0" algn="r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67" b="1" cap="all" spc="200" baseline="0">
                <a:cs typeface="Calibri" panose="020F0502020204030204" pitchFamily="34" charset="0"/>
              </a:defRPr>
            </a:lvl1pPr>
            <a:lvl2pPr marL="226478" indent="-226478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867" b="0">
                <a:latin typeface="+mj-lt"/>
              </a:defRPr>
            </a:lvl2pPr>
            <a:lvl3pPr marL="533387" indent="-228594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–"/>
              <a:defRPr sz="1600" b="0">
                <a:latin typeface="+mj-lt"/>
              </a:defRPr>
            </a:lvl3pPr>
            <a:lvl4pPr marL="761981" indent="-226478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•"/>
              <a:defRPr sz="1467" b="0">
                <a:latin typeface="+mj-lt"/>
              </a:defRPr>
            </a:lvl4pPr>
            <a:lvl5pPr marL="990575" indent="-228594" defTabSz="121917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467" b="0">
                <a:latin typeface="+mj-lt"/>
              </a:defRPr>
            </a:lvl5pPr>
            <a:lvl6pPr marL="3352716" indent="-304792" defTabSz="1219170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6pPr>
            <a:lvl7pPr marL="3962301" indent="-304792" defTabSz="1219170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7pPr>
            <a:lvl8pPr marL="4571886" indent="-304792" defTabSz="1219170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8pPr>
            <a:lvl9pPr marL="5181470" indent="-304792" defTabSz="1219170">
              <a:spcBef>
                <a:spcPct val="20000"/>
              </a:spcBef>
              <a:buFont typeface="Arial" panose="020B0604020202020204" pitchFamily="34" charset="0"/>
              <a:buChar char="•"/>
              <a:defRPr sz="2667"/>
            </a:lvl9pPr>
          </a:lstStyle>
          <a:p>
            <a:r>
              <a:rPr lang="en-US" dirty="0">
                <a:solidFill>
                  <a:schemeClr val="bg1"/>
                </a:solidFill>
              </a:rPr>
              <a:t>farewell</a:t>
            </a:r>
          </a:p>
        </p:txBody>
      </p:sp>
    </p:spTree>
    <p:extLst>
      <p:ext uri="{BB962C8B-B14F-4D97-AF65-F5344CB8AC3E}">
        <p14:creationId xmlns:p14="http://schemas.microsoft.com/office/powerpoint/2010/main" val="42027550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83F5546-D215-406E-A889-6E511EBD87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3F5546-D215-406E-A889-6E511EBD87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8921EEF2-66AE-468E-A450-AF44EEDF616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7" b="7867"/>
          <a:stretch>
            <a:fillRect/>
          </a:stretch>
        </p:blipFill>
        <p:spPr>
          <a:xfrm>
            <a:off x="0" y="-1"/>
            <a:ext cx="12192000" cy="685800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35092-8EC3-40DF-B91F-1FC0DF7F2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62FF6-D891-4FCA-98FE-E41A822A6FBC}" type="datetime5">
              <a:rPr lang="en-US" sz="1333" smtClean="0"/>
              <a:t>22-Feb-23</a:t>
            </a:fld>
            <a:endParaRPr lang="en-IN" sz="1333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6904D-2083-474A-BD1D-CA384F638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rom Hydration to Hygiene  |  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7FE000-28D6-415F-8EDB-48EF730A6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2</a:t>
            </a:fld>
            <a:endParaRPr lang="en-IN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FC12549-9B62-4974-90A2-990C1E6BCC77}"/>
              </a:ext>
            </a:extLst>
          </p:cNvPr>
          <p:cNvSpPr/>
          <p:nvPr/>
        </p:nvSpPr>
        <p:spPr>
          <a:xfrm>
            <a:off x="0" y="4350327"/>
            <a:ext cx="8040914" cy="2507673"/>
          </a:xfrm>
          <a:prstGeom prst="rect">
            <a:avLst/>
          </a:prstGeom>
          <a:solidFill>
            <a:schemeClr val="tx1">
              <a:alpha val="55000"/>
            </a:schemeClr>
          </a:solidFill>
          <a:ln>
            <a:noFill/>
          </a:ln>
          <a:effectLst>
            <a:softEdge rad="381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DD8665-96C8-443E-A4EC-21B632155075}"/>
              </a:ext>
            </a:extLst>
          </p:cNvPr>
          <p:cNvSpPr txBox="1"/>
          <p:nvPr/>
        </p:nvSpPr>
        <p:spPr>
          <a:xfrm>
            <a:off x="500756" y="4783933"/>
            <a:ext cx="5595244" cy="1564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here once was a gal named Izzy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 Pedialyte ABM oh so busy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he managed the powder, the budget to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nd organic social content, through and through</a:t>
            </a:r>
          </a:p>
        </p:txBody>
      </p:sp>
    </p:spTree>
    <p:extLst>
      <p:ext uri="{BB962C8B-B14F-4D97-AF65-F5344CB8AC3E}">
        <p14:creationId xmlns:p14="http://schemas.microsoft.com/office/powerpoint/2010/main" val="5099889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83F5546-D215-406E-A889-6E511EBD87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3F5546-D215-406E-A889-6E511EBD87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58E5DDBE-EE42-4F1F-88A7-89493549245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76" b="7776"/>
          <a:stretch>
            <a:fillRect/>
          </a:stretch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35092-8EC3-40DF-B91F-1FC0DF7F2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A4A1F3-1E89-417B-AA66-90BC4B366ECA}" type="datetime5">
              <a:rPr lang="en-US" sz="1333" smtClean="0"/>
              <a:t>22-Feb-23</a:t>
            </a:fld>
            <a:endParaRPr lang="en-IN" sz="1333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6904D-2083-474A-BD1D-CA384F638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rom Hydration to Hygiene  |  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7FE000-28D6-415F-8EDB-48EF730A6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3</a:t>
            </a:fld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DD8665-96C8-443E-A4EC-21B632155075}"/>
              </a:ext>
            </a:extLst>
          </p:cNvPr>
          <p:cNvSpPr txBox="1"/>
          <p:nvPr/>
        </p:nvSpPr>
        <p:spPr>
          <a:xfrm>
            <a:off x="6277442" y="3160816"/>
            <a:ext cx="5595244" cy="1564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ith her skills, the budget was always right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he managed powder supply and kept it tight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zzy mastered powders in the consumption deck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nd without her here, Tom might be a wreck</a:t>
            </a:r>
          </a:p>
        </p:txBody>
      </p:sp>
    </p:spTree>
    <p:extLst>
      <p:ext uri="{BB962C8B-B14F-4D97-AF65-F5344CB8AC3E}">
        <p14:creationId xmlns:p14="http://schemas.microsoft.com/office/powerpoint/2010/main" val="15528772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83F5546-D215-406E-A889-6E511EBD87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3F5546-D215-406E-A889-6E511EBD87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31017802-DA57-42EF-B52E-29D59B662FA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>
          <a:xfrm>
            <a:off x="0" y="0"/>
            <a:ext cx="12192000" cy="6857997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35092-8EC3-40DF-B91F-1FC0DF7F2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186F5B-B5DE-44C0-A4AD-5D4A75463C69}" type="datetime5">
              <a:rPr lang="en-US" sz="1333" smtClean="0"/>
              <a:t>22-Feb-23</a:t>
            </a:fld>
            <a:endParaRPr lang="en-IN" sz="1333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6904D-2083-474A-BD1D-CA384F638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rom Hydration to Hygiene  |  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7FE000-28D6-415F-8EDB-48EF730A6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4</a:t>
            </a:fld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DD8665-96C8-443E-A4EC-21B632155075}"/>
              </a:ext>
            </a:extLst>
          </p:cNvPr>
          <p:cNvSpPr txBox="1"/>
          <p:nvPr/>
        </p:nvSpPr>
        <p:spPr>
          <a:xfrm>
            <a:off x="688126" y="627166"/>
            <a:ext cx="7012610" cy="1564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he’s lived across Arkansas, Florida, and North Carolina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t now she's moving, oh what a drama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To the land of the Sopranos and Jersey Shore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here the turnpike tolls and the accents roar</a:t>
            </a:r>
          </a:p>
        </p:txBody>
      </p:sp>
    </p:spTree>
    <p:extLst>
      <p:ext uri="{BB962C8B-B14F-4D97-AF65-F5344CB8AC3E}">
        <p14:creationId xmlns:p14="http://schemas.microsoft.com/office/powerpoint/2010/main" val="1301311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83F5546-D215-406E-A889-6E511EBD87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3F5546-D215-406E-A889-6E511EBD87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>
            <a:extLst>
              <a:ext uri="{FF2B5EF4-FFF2-40B4-BE49-F238E27FC236}">
                <a16:creationId xmlns:a16="http://schemas.microsoft.com/office/drawing/2014/main" id="{9BA8500C-AAB7-472E-97D0-422C26246A8C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53" b="15039"/>
          <a:stretch/>
        </p:blipFill>
        <p:spPr>
          <a:xfrm>
            <a:off x="0" y="-4"/>
            <a:ext cx="12192000" cy="6858004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35092-8EC3-40DF-B91F-1FC0DF7F2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C1A4CE-50AE-41D4-A98A-30ABCDE4F934}" type="datetime5">
              <a:rPr lang="en-US" sz="1333" smtClean="0"/>
              <a:t>22-Feb-23</a:t>
            </a:fld>
            <a:endParaRPr lang="en-IN" sz="1333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6904D-2083-474A-BD1D-CA384F638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rom Hydration to Hygiene  |  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7FE000-28D6-415F-8EDB-48EF730A6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5</a:t>
            </a:fld>
            <a:endParaRPr lang="en-IN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78E126C-44A1-49E2-9AF5-8C2451DB059C}"/>
              </a:ext>
            </a:extLst>
          </p:cNvPr>
          <p:cNvSpPr/>
          <p:nvPr/>
        </p:nvSpPr>
        <p:spPr>
          <a:xfrm>
            <a:off x="-1931094" y="4514850"/>
            <a:ext cx="8027094" cy="2684415"/>
          </a:xfrm>
          <a:prstGeom prst="rect">
            <a:avLst/>
          </a:prstGeom>
          <a:solidFill>
            <a:schemeClr val="tx1">
              <a:alpha val="30000"/>
            </a:schemeClr>
          </a:solidFill>
          <a:ln>
            <a:noFill/>
          </a:ln>
          <a:effectLst>
            <a:softEdge rad="3810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DD8665-96C8-443E-A4EC-21B632155075}"/>
              </a:ext>
            </a:extLst>
          </p:cNvPr>
          <p:cNvSpPr txBox="1"/>
          <p:nvPr/>
        </p:nvSpPr>
        <p:spPr>
          <a:xfrm>
            <a:off x="302605" y="4974526"/>
            <a:ext cx="7012610" cy="1564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t don't worry, dear Izzy, you'll fit right in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ith your expertise in hydration, you're sure to win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You'll make the Garden State a healthier place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sz="1800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One electrolyte-infused smile on each face</a:t>
            </a:r>
          </a:p>
        </p:txBody>
      </p:sp>
    </p:spTree>
    <p:extLst>
      <p:ext uri="{BB962C8B-B14F-4D97-AF65-F5344CB8AC3E}">
        <p14:creationId xmlns:p14="http://schemas.microsoft.com/office/powerpoint/2010/main" val="40922573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83F5546-D215-406E-A889-6E511EBD87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3F5546-D215-406E-A889-6E511EBD87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6067BB96-383B-414B-A3C2-C8D752279A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"/>
          <a:stretch>
            <a:fillRect/>
          </a:stretch>
        </p:blipFill>
        <p:spPr>
          <a:xfrm>
            <a:off x="1099479" y="0"/>
            <a:ext cx="12192000" cy="6858001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35092-8EC3-40DF-B91F-1FC0DF7F2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62425B-6C12-45D0-BD0D-A8D04A9B805D}" type="datetime5">
              <a:rPr lang="en-US" sz="1333" smtClean="0"/>
              <a:t>22-Feb-23</a:t>
            </a:fld>
            <a:endParaRPr lang="en-IN" sz="1333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6904D-2083-474A-BD1D-CA384F638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rom Hydration to Hygiene  |  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7FE000-28D6-415F-8EDB-48EF730A6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6</a:t>
            </a:fld>
            <a:endParaRPr lang="en-IN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0356C93-C1CA-4665-9BCA-0DAEC985498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r="97282" b="2"/>
          <a:stretch/>
        </p:blipFill>
        <p:spPr>
          <a:xfrm>
            <a:off x="-1" y="0"/>
            <a:ext cx="1099479" cy="6858001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9ADD8665-96C8-443E-A4EC-21B632155075}"/>
              </a:ext>
            </a:extLst>
          </p:cNvPr>
          <p:cNvSpPr txBox="1"/>
          <p:nvPr/>
        </p:nvSpPr>
        <p:spPr>
          <a:xfrm>
            <a:off x="735446" y="512866"/>
            <a:ext cx="7012610" cy="1564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Your Pedialyte team will miss you s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nd Listerine's lucky, I bet they already know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zzy is an excellent ABM, clever and smart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tx2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With her on board, the Listerine brand will be a work of art</a:t>
            </a:r>
          </a:p>
        </p:txBody>
      </p:sp>
    </p:spTree>
    <p:extLst>
      <p:ext uri="{BB962C8B-B14F-4D97-AF65-F5344CB8AC3E}">
        <p14:creationId xmlns:p14="http://schemas.microsoft.com/office/powerpoint/2010/main" val="26424213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83F5546-D215-406E-A889-6E511EBD87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3F5546-D215-406E-A889-6E511EBD87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35092-8EC3-40DF-B91F-1FC0DF7F2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E1D2DF-9155-4D29-85A4-1794EF54A8DD}" type="datetime5">
              <a:rPr lang="en-US" sz="1333" smtClean="0"/>
              <a:t>22-Feb-23</a:t>
            </a:fld>
            <a:endParaRPr lang="en-IN" sz="1333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7E752E-AA9E-45FF-97BD-2DD6ED64F1E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4" r="3825"/>
          <a:stretch/>
        </p:blipFill>
        <p:spPr>
          <a:xfrm rot="16200000">
            <a:off x="2667000" y="-2666999"/>
            <a:ext cx="6858002" cy="12192000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6904D-2083-474A-BD1D-CA384F638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rom Hydration to Hygiene  |  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7FE000-28D6-415F-8EDB-48EF730A6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7</a:t>
            </a:fld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DD8665-96C8-443E-A4EC-21B632155075}"/>
              </a:ext>
            </a:extLst>
          </p:cNvPr>
          <p:cNvSpPr txBox="1"/>
          <p:nvPr/>
        </p:nvSpPr>
        <p:spPr>
          <a:xfrm>
            <a:off x="716396" y="830801"/>
            <a:ext cx="7012610" cy="1564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he'll make sure all mouths stay fresh and clean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At Listerine, Izzy will become a true hygiene queen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From morning coffee to garlic and spice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You know Izzy will be giving great Listerine usage advice</a:t>
            </a:r>
          </a:p>
        </p:txBody>
      </p:sp>
    </p:spTree>
    <p:extLst>
      <p:ext uri="{BB962C8B-B14F-4D97-AF65-F5344CB8AC3E}">
        <p14:creationId xmlns:p14="http://schemas.microsoft.com/office/powerpoint/2010/main" val="105487680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183F5546-D215-406E-A889-6E511EBD87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83F5546-D215-406E-A889-6E511EBD87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47DA1B01-E602-4682-90D3-6A3020B5C466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0" b="13748"/>
          <a:stretch/>
        </p:blipFill>
        <p:spPr>
          <a:xfrm>
            <a:off x="0" y="-1"/>
            <a:ext cx="12192000" cy="685800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735092-8EC3-40DF-B91F-1FC0DF7F2C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8CA254-1209-4D57-92BD-8F0A87416845}" type="datetime5">
              <a:rPr lang="en-US" sz="1333" smtClean="0"/>
              <a:t>22-Feb-23</a:t>
            </a:fld>
            <a:endParaRPr lang="en-IN" sz="1333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086904D-2083-474A-BD1D-CA384F638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From Hydration to Hygiene  |  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D7FE000-28D6-415F-8EDB-48EF730A68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IN"/>
              <a:t>|    </a:t>
            </a:r>
            <a:fld id="{7B2119CD-3B2D-4CEB-B404-D2E3F8CD6D69}" type="slidenum">
              <a:rPr lang="en-IN" smtClean="0"/>
              <a:pPr>
                <a:defRPr/>
              </a:pPr>
              <a:t>8</a:t>
            </a:fld>
            <a:endParaRPr lang="en-IN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ADD8665-96C8-443E-A4EC-21B632155075}"/>
              </a:ext>
            </a:extLst>
          </p:cNvPr>
          <p:cNvSpPr txBox="1"/>
          <p:nvPr/>
        </p:nvSpPr>
        <p:spPr>
          <a:xfrm>
            <a:off x="468746" y="380858"/>
            <a:ext cx="7012610" cy="15649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o farewell, dear Izzy, we'll miss you s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But we know you'll shine, wherever you go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Listerine will be in great hands</a:t>
            </a:r>
          </a:p>
          <a:p>
            <a:pPr marL="0" marR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en-US" dirty="0">
                <a:solidFill>
                  <a:schemeClr val="bg1"/>
                </a:solidFill>
                <a:effectLst/>
                <a:latin typeface="Georgia" panose="02040502050405020303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Even though we all wish you were still here in our Ohio lands</a:t>
            </a:r>
          </a:p>
        </p:txBody>
      </p:sp>
    </p:spTree>
    <p:extLst>
      <p:ext uri="{BB962C8B-B14F-4D97-AF65-F5344CB8AC3E}">
        <p14:creationId xmlns:p14="http://schemas.microsoft.com/office/powerpoint/2010/main" val="19087844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E33F3E-8172-E165-DC31-CE23ED4184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555051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omKyTran Theme">
  <a:themeElements>
    <a:clrScheme name="TomKyTran">
      <a:dk1>
        <a:srgbClr val="000000"/>
      </a:dk1>
      <a:lt1>
        <a:srgbClr val="FFFFFF"/>
      </a:lt1>
      <a:dk2>
        <a:srgbClr val="44546A"/>
      </a:dk2>
      <a:lt2>
        <a:srgbClr val="F2F2F2"/>
      </a:lt2>
      <a:accent1>
        <a:srgbClr val="41BF78"/>
      </a:accent1>
      <a:accent2>
        <a:srgbClr val="3C90F1"/>
      </a:accent2>
      <a:accent3>
        <a:srgbClr val="DCF162"/>
      </a:accent3>
      <a:accent4>
        <a:srgbClr val="F2645A"/>
      </a:accent4>
      <a:accent5>
        <a:srgbClr val="F2BE5D"/>
      </a:accent5>
      <a:accent6>
        <a:srgbClr val="8330C0"/>
      </a:accent6>
      <a:hlink>
        <a:srgbClr val="0563C1"/>
      </a:hlink>
      <a:folHlink>
        <a:srgbClr val="8A8B8A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omKyTran Theme" id="{D07F7FF4-AF79-654B-8409-FD316D3155F8}" vid="{22873544-3C8D-2441-8E67-9A0A7F6140C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omKyTran Theme</Template>
  <TotalTime>4</TotalTime>
  <Words>325</Words>
  <Application>Microsoft Macintosh PowerPoint</Application>
  <PresentationFormat>Widescreen</PresentationFormat>
  <Paragraphs>54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Arial</vt:lpstr>
      <vt:lpstr>Calibri</vt:lpstr>
      <vt:lpstr>Georgia</vt:lpstr>
      <vt:lpstr>TomKyTran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m Tran</dc:creator>
  <cp:lastModifiedBy>Tom Tran</cp:lastModifiedBy>
  <cp:revision>1</cp:revision>
  <dcterms:created xsi:type="dcterms:W3CDTF">2023-02-22T23:35:07Z</dcterms:created>
  <dcterms:modified xsi:type="dcterms:W3CDTF">2023-02-22T23:39:37Z</dcterms:modified>
</cp:coreProperties>
</file>